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8"/>
  </p:notesMasterIdLst>
  <p:handoutMasterIdLst>
    <p:handoutMasterId r:id="rId9"/>
  </p:handoutMasterIdLst>
  <p:sldIdLst>
    <p:sldId id="259" r:id="rId6"/>
    <p:sldId id="260" r:id="rId7"/>
  </p:sldIdLst>
  <p:sldSz cx="12192000" cy="6858000"/>
  <p:notesSz cx="7099300" cy="10234613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6" autoAdjust="0"/>
  </p:normalViewPr>
  <p:slideViewPr>
    <p:cSldViewPr snapToObjects="1" showGuides="1">
      <p:cViewPr varScale="1">
        <p:scale>
          <a:sx n="114" d="100"/>
          <a:sy n="114" d="100"/>
        </p:scale>
        <p:origin x="414" y="11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2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2-07-16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630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614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baseline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GB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2. All rights reserved.</a:t>
            </a:r>
            <a:endParaRPr lang="en-US" sz="800" kern="0" noProof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2-07-16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A4547C99-F1C2-43F7-BD3D-F5E2F20693E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32" y="980728"/>
            <a:ext cx="10265735" cy="547668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B7E771-5EDD-4014-97C2-2D153207CB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312" y="4725144"/>
            <a:ext cx="648072" cy="4862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FD5D5A-4476-4AFF-A1BD-081DBC467D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786" y="2780928"/>
            <a:ext cx="589190" cy="3927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050BA2-AEAC-4EAC-9A5C-1C55C15D5361}"/>
              </a:ext>
            </a:extLst>
          </p:cNvPr>
          <p:cNvSpPr txBox="1"/>
          <p:nvPr/>
        </p:nvSpPr>
        <p:spPr bwMode="auto">
          <a:xfrm>
            <a:off x="9624392" y="4776397"/>
            <a:ext cx="864096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Australien:Tantal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B3B9A3-C50E-4AE9-9501-43E4F2620B85}"/>
              </a:ext>
            </a:extLst>
          </p:cNvPr>
          <p:cNvSpPr txBox="1"/>
          <p:nvPr/>
        </p:nvSpPr>
        <p:spPr bwMode="auto">
          <a:xfrm>
            <a:off x="4727848" y="3068960"/>
            <a:ext cx="648073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Belgien:Zinn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3DD94F-CFC7-42FB-8BD3-E5913A071A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422" y="4293096"/>
            <a:ext cx="789434" cy="59131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395825-2B7D-4880-8CD8-361987DE4057}"/>
              </a:ext>
            </a:extLst>
          </p:cNvPr>
          <p:cNvSpPr txBox="1"/>
          <p:nvPr/>
        </p:nvSpPr>
        <p:spPr bwMode="auto">
          <a:xfrm>
            <a:off x="4485969" y="4848405"/>
            <a:ext cx="1307990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Brasilien: </a:t>
            </a:r>
          </a:p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de-AT" kern="0" dirty="0">
                <a:latin typeface="+mn-lt"/>
              </a:rPr>
              <a:t>Silizium Carbid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43F56D6-E9A8-4CF2-8F65-4ABF9E63CF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944" y="2903532"/>
            <a:ext cx="700624" cy="52546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56CDB8F-F876-4DFC-8B0F-F35ADD57975F}"/>
              </a:ext>
            </a:extLst>
          </p:cNvPr>
          <p:cNvSpPr txBox="1"/>
          <p:nvPr/>
        </p:nvSpPr>
        <p:spPr bwMode="auto">
          <a:xfrm>
            <a:off x="8184231" y="2630092"/>
            <a:ext cx="648073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China: Gallium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C5E2947-E37C-4578-8E64-E7D40F9A033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1628800"/>
            <a:ext cx="1012269" cy="75920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7D3584E-268E-461B-AF1A-2537B2E0961B}"/>
              </a:ext>
            </a:extLst>
          </p:cNvPr>
          <p:cNvSpPr txBox="1"/>
          <p:nvPr/>
        </p:nvSpPr>
        <p:spPr bwMode="auto">
          <a:xfrm>
            <a:off x="2063552" y="1700808"/>
            <a:ext cx="115212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Kanada: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sz="1400" kern="0" baseline="0" dirty="0">
                <a:latin typeface="+mn-lt"/>
                <a:ea typeface="+mn-ea"/>
                <a:cs typeface="+mn-cs"/>
              </a:rPr>
              <a:t>Indium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6A0291C-0ABC-4473-9D48-7E915111FE4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88"/>
          <a:stretch/>
        </p:blipFill>
        <p:spPr>
          <a:xfrm>
            <a:off x="6134452" y="4405085"/>
            <a:ext cx="399886" cy="59131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DC32ADC-EFAB-4329-877E-CE74FEB3EF42}"/>
              </a:ext>
            </a:extLst>
          </p:cNvPr>
          <p:cNvSpPr txBox="1"/>
          <p:nvPr/>
        </p:nvSpPr>
        <p:spPr bwMode="auto">
          <a:xfrm>
            <a:off x="6534338" y="5064429"/>
            <a:ext cx="115212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Sambia: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K</a:t>
            </a:r>
            <a:r>
              <a:rPr lang="de-AT" sz="1400" kern="0" baseline="0" dirty="0">
                <a:latin typeface="+mn-lt"/>
                <a:ea typeface="+mn-ea"/>
                <a:cs typeface="+mn-cs"/>
              </a:rPr>
              <a:t>obal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FD9A713-CC44-4CD3-9929-DE3550CAB95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391" y="3520718"/>
            <a:ext cx="570418" cy="3967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CE9F524-C194-4631-9AEF-C9AEE8AC5B59}"/>
              </a:ext>
            </a:extLst>
          </p:cNvPr>
          <p:cNvSpPr txBox="1"/>
          <p:nvPr/>
        </p:nvSpPr>
        <p:spPr bwMode="auto">
          <a:xfrm>
            <a:off x="9313569" y="3566072"/>
            <a:ext cx="1152128" cy="21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Taiwan:</a:t>
            </a:r>
          </a:p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de-AT" kern="0" dirty="0">
                <a:latin typeface="+mn-lt"/>
              </a:rPr>
              <a:t>Silizium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8E0EEA3-4DD7-4B06-AFCB-F4016CC64F7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620" y="3020227"/>
            <a:ext cx="785818" cy="65241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0D2871E-00F5-495C-A501-32BC68D880A3}"/>
              </a:ext>
            </a:extLst>
          </p:cNvPr>
          <p:cNvSpPr txBox="1"/>
          <p:nvPr/>
        </p:nvSpPr>
        <p:spPr bwMode="auto">
          <a:xfrm>
            <a:off x="2224346" y="3636635"/>
            <a:ext cx="115212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USA:</a:t>
            </a:r>
          </a:p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sz="1400" kern="0" baseline="0" dirty="0">
                <a:latin typeface="+mn-lt"/>
                <a:ea typeface="+mn-ea"/>
                <a:cs typeface="+mn-cs"/>
              </a:rPr>
              <a:t>Germaniu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2200EA-1860-4041-98BF-A64A3BD45D35}"/>
              </a:ext>
            </a:extLst>
          </p:cNvPr>
          <p:cNvSpPr txBox="1"/>
          <p:nvPr/>
        </p:nvSpPr>
        <p:spPr bwMode="auto">
          <a:xfrm>
            <a:off x="5979304" y="2815715"/>
            <a:ext cx="115212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Villach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89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A4547C99-F1C2-43F7-BD3D-F5E2F20693E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32" y="980728"/>
            <a:ext cx="10265735" cy="547668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B7E771-5EDD-4014-97C2-2D153207CB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312" y="4725144"/>
            <a:ext cx="648072" cy="4862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FD5D5A-4476-4AFF-A1BD-081DBC467DE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786" y="2780928"/>
            <a:ext cx="589190" cy="39279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050BA2-AEAC-4EAC-9A5C-1C55C15D5361}"/>
              </a:ext>
            </a:extLst>
          </p:cNvPr>
          <p:cNvSpPr txBox="1"/>
          <p:nvPr/>
        </p:nvSpPr>
        <p:spPr bwMode="auto">
          <a:xfrm>
            <a:off x="429178" y="6117341"/>
            <a:ext cx="1680267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Australien: Tantal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B3B9A3-C50E-4AE9-9501-43E4F2620B85}"/>
              </a:ext>
            </a:extLst>
          </p:cNvPr>
          <p:cNvSpPr txBox="1"/>
          <p:nvPr/>
        </p:nvSpPr>
        <p:spPr bwMode="auto">
          <a:xfrm>
            <a:off x="429178" y="5117300"/>
            <a:ext cx="1843849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Belgien: Zinn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3DD94F-CFC7-42FB-8BD3-E5913A071A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422" y="4293096"/>
            <a:ext cx="789434" cy="59131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6395825-2B7D-4880-8CD8-361987DE4057}"/>
              </a:ext>
            </a:extLst>
          </p:cNvPr>
          <p:cNvSpPr txBox="1"/>
          <p:nvPr/>
        </p:nvSpPr>
        <p:spPr bwMode="auto">
          <a:xfrm>
            <a:off x="429178" y="4866568"/>
            <a:ext cx="2419914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Brasilien: Siliciumcarbid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43F56D6-E9A8-4CF2-8F65-4ABF9E63CF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944" y="2903532"/>
            <a:ext cx="700624" cy="52546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56CDB8F-F876-4DFC-8B0F-F35ADD57975F}"/>
              </a:ext>
            </a:extLst>
          </p:cNvPr>
          <p:cNvSpPr txBox="1"/>
          <p:nvPr/>
        </p:nvSpPr>
        <p:spPr bwMode="auto">
          <a:xfrm>
            <a:off x="429178" y="5618764"/>
            <a:ext cx="1555817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China: Gallium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C5E2947-E37C-4578-8E64-E7D40F9A033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1628800"/>
            <a:ext cx="1012269" cy="75920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7D3584E-268E-461B-AF1A-2537B2E0961B}"/>
              </a:ext>
            </a:extLst>
          </p:cNvPr>
          <p:cNvSpPr txBox="1"/>
          <p:nvPr/>
        </p:nvSpPr>
        <p:spPr bwMode="auto">
          <a:xfrm>
            <a:off x="429178" y="4365104"/>
            <a:ext cx="1680267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Kanada: </a:t>
            </a:r>
            <a:r>
              <a:rPr lang="de-AT" sz="1400" kern="0" baseline="0" dirty="0">
                <a:latin typeface="+mn-lt"/>
                <a:ea typeface="+mn-ea"/>
                <a:cs typeface="+mn-cs"/>
              </a:rPr>
              <a:t>Indium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6A0291C-0ABC-4473-9D48-7E915111FE4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688"/>
          <a:stretch/>
        </p:blipFill>
        <p:spPr>
          <a:xfrm>
            <a:off x="6134452" y="4405085"/>
            <a:ext cx="399886" cy="59131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DC32ADC-EFAB-4329-877E-CE74FEB3EF42}"/>
              </a:ext>
            </a:extLst>
          </p:cNvPr>
          <p:cNvSpPr txBox="1"/>
          <p:nvPr/>
        </p:nvSpPr>
        <p:spPr bwMode="auto">
          <a:xfrm>
            <a:off x="429178" y="5368032"/>
            <a:ext cx="141597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Sambia: </a:t>
            </a:r>
            <a:r>
              <a:rPr lang="de-AT" sz="1400" kern="0" baseline="0" dirty="0">
                <a:latin typeface="+mn-lt"/>
                <a:ea typeface="+mn-ea"/>
                <a:cs typeface="+mn-cs"/>
              </a:rPr>
              <a:t>Cobal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FD9A713-CC44-4CD3-9929-DE3550CAB95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391" y="3520718"/>
            <a:ext cx="570418" cy="3967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CE9F524-C194-4631-9AEF-C9AEE8AC5B59}"/>
              </a:ext>
            </a:extLst>
          </p:cNvPr>
          <p:cNvSpPr txBox="1"/>
          <p:nvPr/>
        </p:nvSpPr>
        <p:spPr bwMode="auto">
          <a:xfrm>
            <a:off x="429178" y="5869496"/>
            <a:ext cx="1415971" cy="213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Taiwan: </a:t>
            </a:r>
            <a:r>
              <a:rPr lang="de-AT" sz="1400" kern="0" baseline="0" dirty="0">
                <a:latin typeface="+mn-lt"/>
                <a:ea typeface="+mn-ea"/>
                <a:cs typeface="+mn-cs"/>
              </a:rPr>
              <a:t>Silicon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8E0EEA3-4DD7-4B06-AFCB-F4016CC64F7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620" y="3020227"/>
            <a:ext cx="785818" cy="65241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0D2871E-00F5-495C-A501-32BC68D880A3}"/>
              </a:ext>
            </a:extLst>
          </p:cNvPr>
          <p:cNvSpPr txBox="1"/>
          <p:nvPr/>
        </p:nvSpPr>
        <p:spPr bwMode="auto">
          <a:xfrm>
            <a:off x="429178" y="4615836"/>
            <a:ext cx="1555817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USA: </a:t>
            </a:r>
            <a:r>
              <a:rPr lang="de-AT" sz="1400" kern="0" baseline="0" dirty="0">
                <a:latin typeface="+mn-lt"/>
                <a:ea typeface="+mn-ea"/>
                <a:cs typeface="+mn-cs"/>
              </a:rPr>
              <a:t>Germaniu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2200EA-1860-4041-98BF-A64A3BD45D35}"/>
              </a:ext>
            </a:extLst>
          </p:cNvPr>
          <p:cNvSpPr txBox="1"/>
          <p:nvPr/>
        </p:nvSpPr>
        <p:spPr bwMode="auto">
          <a:xfrm>
            <a:off x="5979304" y="2815715"/>
            <a:ext cx="115212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l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AT" kern="0" dirty="0">
                <a:latin typeface="+mn-lt"/>
              </a:rPr>
              <a:t>Villach</a:t>
            </a:r>
            <a:endParaRPr lang="de-AT" sz="14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2310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MATCH_COLOR_SCHEME" val="True"/>
  <p:tag name="MIO_EMBED_FONT" val="False"/>
  <p:tag name="MIO_HDS" val="True"/>
  <p:tag name="MIO_SKIPVERSION" val="01.01.0001 00:00:00"/>
  <p:tag name="MIO_EKGUID" val="8065601e-5703-48da-bebd-d15d5a0b2647"/>
  <p:tag name="MIO_UPDATE" val="True"/>
  <p:tag name="MIO_VERSION" val="16.07.2022 06:32:14"/>
  <p:tag name="MIO_DBID" val="FDE84254-54DB-49E3-9A0E-CDE72035D530"/>
  <p:tag name="MIO_LASTDOWNLOADED" val="02.02.2023 07:50:47.561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4290399E-CB43-455E-AC8B-5E4AA1F4090D}" vid="{DA6F2F09-0279-4FF9-A3D2-D8D3E12179B9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a709603d-609a-478b-a91d-3c5e984c0e79"/>
    <ds:schemaRef ds:uri="http://purl.org/dc/terms/"/>
    <ds:schemaRef ds:uri="http://schemas.openxmlformats.org/package/2006/metadata/core-properties"/>
    <ds:schemaRef ds:uri="6ef45842-284e-44e4-b2db-1749e7948b44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9</Words>
  <Application>Microsoft Office PowerPoint</Application>
  <PresentationFormat>Widescreen</PresentationFormat>
  <Paragraphs>31</Paragraphs>
  <Slides>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Arial Unicode MS</vt:lpstr>
      <vt:lpstr>Verdana</vt:lpstr>
      <vt:lpstr>Infineon 16:9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utz Jessica (KAI DSC)</dc:creator>
  <cp:lastModifiedBy>Hautz Jessica (KAI DSC)</cp:lastModifiedBy>
  <cp:revision>4</cp:revision>
  <dcterms:created xsi:type="dcterms:W3CDTF">2023-03-17T12:26:12Z</dcterms:created>
  <dcterms:modified xsi:type="dcterms:W3CDTF">2023-03-19T14:1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2-07-16T06:30:15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